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7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1C720-3C23-929E-D8C9-F5B73D8A4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A0A5913-25D1-0614-7F17-4C8C14922F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0A5913-25D1-0614-7F17-4C8C14922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3DFF9D-FBC9-558D-CCD4-374932FC6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1C42938-9164-039B-9C57-CDCA0F0FE8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B8C95E8-FECA-A5F9-A3F0-4B3ED5C1C8C9}"/>
              </a:ext>
            </a:extLst>
          </p:cNvPr>
          <p:cNvSpPr/>
          <p:nvPr/>
        </p:nvSpPr>
        <p:spPr>
          <a:xfrm>
            <a:off x="991541" y="1279840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1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73EF84-3D0C-BFF7-0FBE-3E9112FB7ADF}"/>
              </a:ext>
            </a:extLst>
          </p:cNvPr>
          <p:cNvSpPr/>
          <p:nvPr/>
        </p:nvSpPr>
        <p:spPr>
          <a:xfrm>
            <a:off x="10466662" y="1423181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207E77-D3A0-7D74-DA7A-DDA691800F97}"/>
              </a:ext>
            </a:extLst>
          </p:cNvPr>
          <p:cNvSpPr/>
          <p:nvPr/>
        </p:nvSpPr>
        <p:spPr>
          <a:xfrm>
            <a:off x="1215551" y="1598601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8A1BCF8-D549-4F9E-BF27-2E446E9B8F7C}"/>
              </a:ext>
            </a:extLst>
          </p:cNvPr>
          <p:cNvSpPr/>
          <p:nvPr/>
        </p:nvSpPr>
        <p:spPr>
          <a:xfrm>
            <a:off x="991541" y="2539045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2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BFB7FE4-B89D-B01A-2467-2A9742E789E9}"/>
              </a:ext>
            </a:extLst>
          </p:cNvPr>
          <p:cNvSpPr/>
          <p:nvPr/>
        </p:nvSpPr>
        <p:spPr>
          <a:xfrm>
            <a:off x="10466662" y="2681237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16FE9A-ED03-29C9-B940-7B9FD54B0439}"/>
              </a:ext>
            </a:extLst>
          </p:cNvPr>
          <p:cNvSpPr/>
          <p:nvPr/>
        </p:nvSpPr>
        <p:spPr>
          <a:xfrm>
            <a:off x="1215551" y="2857807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B65319E-30AE-A92E-DA94-04B07F792679}"/>
              </a:ext>
            </a:extLst>
          </p:cNvPr>
          <p:cNvSpPr/>
          <p:nvPr/>
        </p:nvSpPr>
        <p:spPr>
          <a:xfrm>
            <a:off x="991541" y="3798250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4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075AE3D-A624-A5D8-DCE7-D484C2969B2A}"/>
              </a:ext>
            </a:extLst>
          </p:cNvPr>
          <p:cNvSpPr/>
          <p:nvPr/>
        </p:nvSpPr>
        <p:spPr>
          <a:xfrm>
            <a:off x="10466662" y="3979771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4"/>
                </a:solidFill>
              </a:rPr>
              <a:t>0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C36968-3E31-B784-BBD1-B335DBB81928}"/>
              </a:ext>
            </a:extLst>
          </p:cNvPr>
          <p:cNvSpPr/>
          <p:nvPr/>
        </p:nvSpPr>
        <p:spPr>
          <a:xfrm>
            <a:off x="1215551" y="4117012"/>
            <a:ext cx="9064046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38EE974-7F3C-5D77-D65F-A81E0D5139E3}"/>
              </a:ext>
            </a:extLst>
          </p:cNvPr>
          <p:cNvSpPr/>
          <p:nvPr/>
        </p:nvSpPr>
        <p:spPr>
          <a:xfrm>
            <a:off x="991541" y="5057455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5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FDA7476-B3F3-5830-44CE-EC1D63B65B44}"/>
              </a:ext>
            </a:extLst>
          </p:cNvPr>
          <p:cNvSpPr/>
          <p:nvPr/>
        </p:nvSpPr>
        <p:spPr>
          <a:xfrm>
            <a:off x="10466662" y="5238976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</a:rPr>
              <a:t>0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08E784-1670-4068-3604-D4D788942659}"/>
              </a:ext>
            </a:extLst>
          </p:cNvPr>
          <p:cNvSpPr/>
          <p:nvPr/>
        </p:nvSpPr>
        <p:spPr>
          <a:xfrm>
            <a:off x="1215551" y="5376217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058011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8</TotalTime>
  <Words>19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Next Step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81</cp:revision>
  <dcterms:created xsi:type="dcterms:W3CDTF">2021-03-31T02:49:57Z</dcterms:created>
  <dcterms:modified xsi:type="dcterms:W3CDTF">2025-10-15T08:31:57Z</dcterms:modified>
  <cp:category/>
</cp:coreProperties>
</file>